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2145705925" r:id="rId8"/>
    <p:sldId id="2145705952" r:id="rId9"/>
    <p:sldId id="2145705953" r:id="rId10"/>
    <p:sldId id="2145705972" r:id="rId11"/>
    <p:sldId id="2145705977" r:id="rId12"/>
    <p:sldId id="2145705957" r:id="rId13"/>
    <p:sldId id="2145705974" r:id="rId14"/>
    <p:sldId id="2145705981" r:id="rId15"/>
    <p:sldId id="2145705961" r:id="rId16"/>
    <p:sldId id="2145705982" r:id="rId17"/>
    <p:sldId id="2145705962" r:id="rId18"/>
    <p:sldId id="2145705984" r:id="rId19"/>
    <p:sldId id="2145705964" r:id="rId20"/>
    <p:sldId id="2145705966" r:id="rId21"/>
    <p:sldId id="2145705985" r:id="rId22"/>
    <p:sldId id="2145705975" r:id="rId23"/>
    <p:sldId id="2145705967" r:id="rId24"/>
    <p:sldId id="2145705969" r:id="rId25"/>
    <p:sldId id="2145705986" r:id="rId26"/>
    <p:sldId id="2145705970" r:id="rId27"/>
    <p:sldId id="2145705983" r:id="rId28"/>
    <p:sldId id="2145705978" r:id="rId29"/>
    <p:sldId id="2145705987" r:id="rId30"/>
    <p:sldId id="2145705954" r:id="rId31"/>
    <p:sldId id="2145705956" r:id="rId32"/>
    <p:sldId id="2145705988" r:id="rId33"/>
    <p:sldId id="2145705971" r:id="rId34"/>
    <p:sldId id="2145705989" r:id="rId35"/>
    <p:sldId id="2145705979" r:id="rId36"/>
    <p:sldId id="2145705990" r:id="rId37"/>
    <p:sldId id="2145705980" r:id="rId38"/>
    <p:sldId id="2145705991" r:id="rId39"/>
    <p:sldId id="309" r:id="rId40"/>
    <p:sldId id="310" r:id="rId41"/>
    <p:sldId id="311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4" autoAdjust="0"/>
    <p:restoredTop sz="79434" autoAdjust="0"/>
  </p:normalViewPr>
  <p:slideViewPr>
    <p:cSldViewPr snapToGrid="0">
      <p:cViewPr varScale="1">
        <p:scale>
          <a:sx n="69" d="100"/>
          <a:sy n="69" d="100"/>
        </p:scale>
        <p:origin x="987" y="4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9" Type="http://customschemas.google.com/relationships/presentationmetadata" Target="metadata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WORKSPACE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boards in specific Workspace(id=1) that specific user(id=1) is owner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boards in specific Workspace(id=1) that specific user(id=1) is member.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B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pecific Workspace that specific user is a member. (R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,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3157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, Stage,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list Stage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age(position=3) of bo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*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ge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age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_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card of stage(position=1) in board (id=3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ver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767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members in card(id=1) (Slide 3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card (id=219) of a stage(id=2), board(id=2) (Slide 3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CardId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Attachment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Loca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rt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DueDat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attachm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ISNULL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0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_of_checklist_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rd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AttachmentC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Checklis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Labels 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21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;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abels of card(id=1) (Slide 3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Colo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Labels 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Label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Label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ors co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.Colo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comment of card (id = 1) (Slide 4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ont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omment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59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reaction of comment's card (id = 104) (Slide 43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OUNT(*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Reac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Reactions 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mentRea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Reac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mment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.Commen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04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0459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ctivities of card(id=12) (Slide 3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c.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C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ttachments of card (id = 1) (Slide 4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ttachmen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Lin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sCov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ttachment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loa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 DROPDOWN TYPE and their field value of specific c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(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TRY_CAS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INT)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WithCa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custom field without dropdown type and their field value of specific card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Field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ardId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C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v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stg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g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!= 'DROPDOW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t.Category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Types'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options of custom field with dropdown type of specific boar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FieldItem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Field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eld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m.CustomFiel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gr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DROPD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f.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8523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checklist items assigned to the user. (Slide 4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Posi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tem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Card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Item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i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Lis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l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CheckLis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e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i.Memb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3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11888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dirty="0"/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104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Toke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ShareLink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Link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l.Permiss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9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members of the board(id=1) with permissions (Slide 13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Emai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RolePermiss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Members m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lePermiss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Permiss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tting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Workspace with valu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Data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Conte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etting workspace(id=7) visibility(value=22, user=7)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visibilit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7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f thi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for Workspace (Slide 1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so.SettingOp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UP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setting keys of user (id=1) with option value (Slide 18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Display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Key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Valu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Ke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ttingOp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Setting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v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User'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k.Ke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6896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con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Categories 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Design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(category = 'Design', id=22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tegorie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6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Design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22'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templates from board (use templates) (Slide 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JOIN Boards b ON b.id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boards in collection (id = 1) (Slide 52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Collection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Collection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ollections c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c.Collec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0626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sticker 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stickers of card(id=1) (Slide 47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ticker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Stickers 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Stick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c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Stick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s.C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1393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recent card's activities in the user's card. (Slide 49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AS Boar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DATEDIFF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,ac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GETDATE()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(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FROM Activities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gory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3) ac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Cards c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tage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.Stag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.Workspac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ac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y_ago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how Activities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Activity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Activities a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Notifications n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 Users u ON u.Id = a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Count total number of unread notifications of the user. (Slide 50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COUNT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umberOfNotification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Notifications 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tivities ac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Activit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.IsRea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0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0438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9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BOARDS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vatar Us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specific user(id=8).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StarredBoa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StarredBoards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b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recently viewed board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specific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ViewHistory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5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Statu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activ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vh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specific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Logo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usr.Id = meb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b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specific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specific Workspace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br.Owner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sr ON mbr.UserId = usr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r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sp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d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USER TAB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information of a specific us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ture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Email, Usernam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User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Email = 'mkelly@gmail.com'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7727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WORKSPACE CREATE SCREE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Get all workspace types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playValu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1238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9.jp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.xml"/><Relationship Id="rId6" Type="http://schemas.openxmlformats.org/officeDocument/2006/relationships/image" Target="../media/image20.jp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84D044-7E2B-0B66-F099-479393D59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9E8FD7-29D6-49C7-9E3C-8278C3E51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USER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996E4-F8F5-F35A-277A-49DE32379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801" y="988922"/>
            <a:ext cx="11329199" cy="586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68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36314-2448-A146-FDAB-FD6B17308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769963-7A3A-D228-9F2D-75B264253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STAGE, CARD RELATIONSHIP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C24754-C63D-6765-EF1D-F09D90B45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938" y="1629920"/>
            <a:ext cx="9697803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5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8BDF9-9512-20DA-9692-AC4CF1D55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AE058-705F-81C2-607A-E74CCAFD4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LABEL, COMMENT, COLOR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E4FD3-4AE7-38C5-A4E6-E19A6F54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3" y="1092233"/>
            <a:ext cx="8200523" cy="550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56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03CA6F-82C9-46BC-EB2C-696794D627B0}"/>
              </a:ext>
            </a:extLst>
          </p:cNvPr>
          <p:cNvSpPr/>
          <p:nvPr/>
        </p:nvSpPr>
        <p:spPr>
          <a:xfrm>
            <a:off x="215115" y="5920008"/>
            <a:ext cx="1582970" cy="365369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ttachmentType</a:t>
            </a:r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AFD2C5-FFA9-1DEC-628E-EFE5E64F946F}"/>
              </a:ext>
            </a:extLst>
          </p:cNvPr>
          <p:cNvSpPr/>
          <p:nvPr/>
        </p:nvSpPr>
        <p:spPr>
          <a:xfrm>
            <a:off x="238486" y="2622970"/>
            <a:ext cx="990328" cy="30480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Type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75959A-9D71-8378-A4AB-631ABE5595E8}"/>
              </a:ext>
            </a:extLst>
          </p:cNvPr>
          <p:cNvGrpSpPr/>
          <p:nvPr/>
        </p:nvGrpSpPr>
        <p:grpSpPr>
          <a:xfrm>
            <a:off x="2237064" y="3275739"/>
            <a:ext cx="1304883" cy="287472"/>
            <a:chOff x="7451940" y="4318236"/>
            <a:chExt cx="1304883" cy="28747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13E83F66-93EA-171E-D719-D42DE7E79EA6}"/>
                </a:ext>
              </a:extLst>
            </p:cNvPr>
            <p:cNvSpPr/>
            <p:nvPr/>
          </p:nvSpPr>
          <p:spPr>
            <a:xfrm>
              <a:off x="7451940" y="4355581"/>
              <a:ext cx="217028" cy="19520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21713885-5A78-F8B3-6BBA-1266742BE69D}"/>
                </a:ext>
              </a:extLst>
            </p:cNvPr>
            <p:cNvCxnSpPr>
              <a:cxnSpLocks/>
              <a:stCxn id="16" idx="1"/>
              <a:endCxn id="14" idx="3"/>
            </p:cNvCxnSpPr>
            <p:nvPr/>
          </p:nvCxnSpPr>
          <p:spPr>
            <a:xfrm flipH="1" flipV="1">
              <a:off x="7668968" y="4453181"/>
              <a:ext cx="246314" cy="87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B84F7FE-99DC-B10D-63F8-C1E4DE6D3427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ata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3376109"/>
            <a:chOff x="2196740" y="1520076"/>
            <a:chExt cx="6041678" cy="337610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33761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F24604F-B0AC-E8D3-ACCE-61BCB3C4E485}"/>
              </a:ext>
            </a:extLst>
          </p:cNvPr>
          <p:cNvGrpSpPr/>
          <p:nvPr/>
        </p:nvGrpSpPr>
        <p:grpSpPr>
          <a:xfrm>
            <a:off x="2284348" y="4484401"/>
            <a:ext cx="2003297" cy="287472"/>
            <a:chOff x="6562598" y="4296771"/>
            <a:chExt cx="2003297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E91CB9EA-401A-27FB-8547-EE656911CAB5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1D4B9A20-B129-0828-3AFC-E80172558B26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071AA19-D1F8-267D-D0EB-5800481033A6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25F2-A6D7-4B06-5544-527BA5701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8EB8FC-FA72-562E-DC85-197F5F8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, CUSTOMFIELD, CHECKLIST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F07317-F6CD-1266-5D3A-658BD6301F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61771"/>
            <a:ext cx="10999244" cy="589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3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AAA731-C2EB-4619-3960-873FF49C2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7949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9705" y="1523734"/>
            <a:ext cx="2695690" cy="128980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5034171" y="2306182"/>
            <a:ext cx="2187042" cy="287472"/>
            <a:chOff x="8006699" y="4343604"/>
            <a:chExt cx="2187042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9739088" y="4355579"/>
              <a:ext cx="454653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865903C-9176-2985-8E95-1EAEC04A2B39}"/>
              </a:ext>
            </a:extLst>
          </p:cNvPr>
          <p:cNvGrpSpPr/>
          <p:nvPr/>
        </p:nvGrpSpPr>
        <p:grpSpPr>
          <a:xfrm>
            <a:off x="5152632" y="1798432"/>
            <a:ext cx="2281838" cy="920915"/>
            <a:chOff x="2057373" y="1012326"/>
            <a:chExt cx="2281838" cy="920915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0EF7DBDB-D29F-394E-8D0E-C37D14BC0883}"/>
                </a:ext>
              </a:extLst>
            </p:cNvPr>
            <p:cNvSpPr/>
            <p:nvPr/>
          </p:nvSpPr>
          <p:spPr>
            <a:xfrm>
              <a:off x="3565236" y="1520077"/>
              <a:ext cx="773975" cy="4131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C6062639-A10D-7421-FE0B-5CA5296618E4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3000741" y="1156062"/>
              <a:ext cx="593705" cy="36401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756C8DD-6849-6775-1638-1CC322D4CE69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F29DF36-DC88-A25F-D244-C8F8E89DA8B6}"/>
              </a:ext>
            </a:extLst>
          </p:cNvPr>
          <p:cNvGrpSpPr/>
          <p:nvPr/>
        </p:nvGrpSpPr>
        <p:grpSpPr>
          <a:xfrm>
            <a:off x="7870161" y="1845724"/>
            <a:ext cx="2641463" cy="3115889"/>
            <a:chOff x="2057373" y="1012326"/>
            <a:chExt cx="2641463" cy="311588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CD0CA6FC-207F-B246-4CA7-5993495614BB}"/>
                </a:ext>
              </a:extLst>
            </p:cNvPr>
            <p:cNvSpPr/>
            <p:nvPr/>
          </p:nvSpPr>
          <p:spPr>
            <a:xfrm>
              <a:off x="3565236" y="1520076"/>
              <a:ext cx="1133600" cy="26081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C4E436-53A1-A939-B3A2-A42D8341C2BC}"/>
                </a:ext>
              </a:extLst>
            </p:cNvPr>
            <p:cNvCxnSpPr>
              <a:cxnSpLocks/>
            </p:cNvCxnSpPr>
            <p:nvPr/>
          </p:nvCxnSpPr>
          <p:spPr>
            <a:xfrm>
              <a:off x="3000741" y="1252506"/>
              <a:ext cx="593705" cy="2675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E57E9E5-C6DC-3D3D-1E29-848E02CC52BC}"/>
                </a:ext>
              </a:extLst>
            </p:cNvPr>
            <p:cNvSpPr/>
            <p:nvPr/>
          </p:nvSpPr>
          <p:spPr>
            <a:xfrm>
              <a:off x="2057373" y="1012326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80A40E-F3EC-58CC-BF58-C0562E14C0B1}"/>
              </a:ext>
            </a:extLst>
          </p:cNvPr>
          <p:cNvGrpSpPr/>
          <p:nvPr/>
        </p:nvGrpSpPr>
        <p:grpSpPr>
          <a:xfrm>
            <a:off x="7792058" y="2581680"/>
            <a:ext cx="2695690" cy="287472"/>
            <a:chOff x="8006699" y="4343604"/>
            <a:chExt cx="2695690" cy="287472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3D3D4BB1-2E1A-B6BA-82ED-386B85110656}"/>
                </a:ext>
              </a:extLst>
            </p:cNvPr>
            <p:cNvSpPr/>
            <p:nvPr/>
          </p:nvSpPr>
          <p:spPr>
            <a:xfrm>
              <a:off x="9739088" y="4355579"/>
              <a:ext cx="963301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6B76DDB4-4F85-27B2-1FEE-9438A69CD257}"/>
                </a:ext>
              </a:extLst>
            </p:cNvPr>
            <p:cNvCxnSpPr>
              <a:cxnSpLocks/>
              <a:endCxn id="26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516A8DF-2902-13F3-FD13-CBAE80004A80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83C9AF-DE1F-2134-6FED-3BA1F9934859}"/>
              </a:ext>
            </a:extLst>
          </p:cNvPr>
          <p:cNvGrpSpPr/>
          <p:nvPr/>
        </p:nvGrpSpPr>
        <p:grpSpPr>
          <a:xfrm>
            <a:off x="7829403" y="3621923"/>
            <a:ext cx="2403926" cy="287472"/>
            <a:chOff x="8006699" y="4343604"/>
            <a:chExt cx="2403926" cy="28747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7974CE45-D8D2-40F0-1538-9C549DC6A555}"/>
                </a:ext>
              </a:extLst>
            </p:cNvPr>
            <p:cNvSpPr/>
            <p:nvPr/>
          </p:nvSpPr>
          <p:spPr>
            <a:xfrm>
              <a:off x="9739088" y="4355579"/>
              <a:ext cx="67153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F2BCB8F2-D848-B66C-9976-352C4369EC16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9391889" y="4487340"/>
              <a:ext cx="3471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B0707DF-001C-255A-5616-4D32D1E92533}"/>
                </a:ext>
              </a:extLst>
            </p:cNvPr>
            <p:cNvSpPr/>
            <p:nvPr/>
          </p:nvSpPr>
          <p:spPr>
            <a:xfrm>
              <a:off x="8006699" y="4343604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MEMBER SCREEN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MEMBER SCREEN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49C82F-F0EA-3D00-3A0B-6F99C1DD7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A9017-8702-0F02-BCFF-6BA119A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MEMBER, ROLEPERMISSION, SHARELINK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48D39-5F9C-DCE9-2D5A-AE4E05C8A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8" y="1196430"/>
            <a:ext cx="11425067" cy="537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71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633E42-77EB-9C37-D6E9-DA2821768D85}"/>
              </a:ext>
            </a:extLst>
          </p:cNvPr>
          <p:cNvSpPr/>
          <p:nvPr/>
        </p:nvSpPr>
        <p:spPr>
          <a:xfrm>
            <a:off x="5144564" y="4696857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92A79-4C6F-8125-1CCE-125609A6C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80EE60-27E4-514F-7AFB-94C5DA37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, BOARD, CARD, MEMB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D048DD-35C9-EA9B-D12D-0DA68DA9E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936077"/>
            <a:ext cx="9821473" cy="59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144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54A31-E508-E0AD-0F17-6ED995F58D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8E0E5-DFBB-4DBC-3B1F-A39CBA99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WORKSPACE, BOARD, CARD, SETTING RELATIONSHIP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723EC7-A537-07FD-2291-21146A003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7" y="936202"/>
            <a:ext cx="10509859" cy="592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6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1764923" y="1490907"/>
            <a:ext cx="1829041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2627394" y="3050754"/>
            <a:ext cx="2022272" cy="287472"/>
            <a:chOff x="5102226" y="4254611"/>
            <a:chExt cx="2022272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900" y="4398347"/>
              <a:ext cx="219033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102226" y="4254611"/>
              <a:ext cx="12646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tegor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88892-A780-3A07-CCE1-CC169F3654C6}"/>
              </a:ext>
            </a:extLst>
          </p:cNvPr>
          <p:cNvSpPr/>
          <p:nvPr/>
        </p:nvSpPr>
        <p:spPr>
          <a:xfrm>
            <a:off x="1029903" y="3885546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171DA9B-34B7-8725-C271-D7055EAC43AE}"/>
              </a:ext>
            </a:extLst>
          </p:cNvPr>
          <p:cNvSpPr/>
          <p:nvPr/>
        </p:nvSpPr>
        <p:spPr>
          <a:xfrm>
            <a:off x="4615412" y="1625460"/>
            <a:ext cx="69521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29728" y="3085869"/>
            <a:ext cx="4157472" cy="608350"/>
            <a:chOff x="4836190" y="4347557"/>
            <a:chExt cx="4157472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5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36190" y="4555942"/>
              <a:ext cx="1072615" cy="30530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7F3B30-0501-5E34-131D-0F8FE2B79F2D}"/>
              </a:ext>
            </a:extLst>
          </p:cNvPr>
          <p:cNvGrpSpPr/>
          <p:nvPr/>
        </p:nvGrpSpPr>
        <p:grpSpPr>
          <a:xfrm>
            <a:off x="3956473" y="1797733"/>
            <a:ext cx="2568620" cy="997029"/>
            <a:chOff x="6597595" y="3757337"/>
            <a:chExt cx="2568620" cy="997029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8ED9FECD-2E19-127F-A9F9-2F3B161A8975}"/>
                </a:ext>
              </a:extLst>
            </p:cNvPr>
            <p:cNvSpPr/>
            <p:nvPr/>
          </p:nvSpPr>
          <p:spPr>
            <a:xfrm>
              <a:off x="6597595" y="4366209"/>
              <a:ext cx="431743" cy="38815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06EAB0AC-178A-A049-E84C-E82A7F672301}"/>
                </a:ext>
              </a:extLst>
            </p:cNvPr>
            <p:cNvCxnSpPr>
              <a:cxnSpLocks/>
              <a:stCxn id="12" idx="1"/>
              <a:endCxn id="6" idx="3"/>
            </p:cNvCxnSpPr>
            <p:nvPr/>
          </p:nvCxnSpPr>
          <p:spPr>
            <a:xfrm flipH="1">
              <a:off x="7029338" y="3901073"/>
              <a:ext cx="1105859" cy="6592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C6E09A0-B5D5-42A3-62A2-E1B749E9A256}"/>
                </a:ext>
              </a:extLst>
            </p:cNvPr>
            <p:cNvSpPr/>
            <p:nvPr/>
          </p:nvSpPr>
          <p:spPr>
            <a:xfrm>
              <a:off x="8135197" y="3757337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CB81653-2117-4A47-80F1-AF33BCD3BC4F}"/>
              </a:ext>
            </a:extLst>
          </p:cNvPr>
          <p:cNvGrpSpPr/>
          <p:nvPr/>
        </p:nvGrpSpPr>
        <p:grpSpPr>
          <a:xfrm>
            <a:off x="7501271" y="3861122"/>
            <a:ext cx="4300585" cy="513687"/>
            <a:chOff x="4491250" y="4347557"/>
            <a:chExt cx="4300585" cy="513687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0C1AB209-B449-9622-2ADD-531AAF6645D3}"/>
                </a:ext>
              </a:extLst>
            </p:cNvPr>
            <p:cNvSpPr/>
            <p:nvPr/>
          </p:nvSpPr>
          <p:spPr>
            <a:xfrm>
              <a:off x="6585932" y="4347557"/>
              <a:ext cx="2205903" cy="398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B9C767D9-C0E4-96E4-2F13-C70ED78C4B59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5908806" y="4546974"/>
              <a:ext cx="677126" cy="1558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62A2A6A-8257-58AA-4D04-833188DBFED9}"/>
                </a:ext>
              </a:extLst>
            </p:cNvPr>
            <p:cNvSpPr/>
            <p:nvPr/>
          </p:nvSpPr>
          <p:spPr>
            <a:xfrm>
              <a:off x="4491250" y="4544323"/>
              <a:ext cx="1417556" cy="316921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4961E-9372-6843-A76D-8860A6AF2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5253D-B3F2-FCB3-8D30-9B00244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TEMPLATE, US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4D8F8A-C53F-14B8-62F0-42A9553395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835" y="1075996"/>
            <a:ext cx="9526329" cy="47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536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906045-0BA2-378E-4609-09AF93E41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2713"/>
            <a:ext cx="12192000" cy="61389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747423" y="1946493"/>
            <a:ext cx="10607040" cy="3038038"/>
            <a:chOff x="1705676" y="5753885"/>
            <a:chExt cx="10607040" cy="3038038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8"/>
              <a:ext cx="8698192" cy="256733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1705676" y="5753885"/>
              <a:ext cx="151074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Collection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16798" y="4713586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885659" y="3673907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885659" y="4344600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C9644B-FBAE-9882-719F-90E2A604A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0211A4-901A-C525-0ED8-DF5CAD60D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BOARD, COLLECTION RELATIONSHIP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6C3304-F75C-2865-4E0B-04D892DA68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853" y="1580626"/>
            <a:ext cx="9947410" cy="254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562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006316" y="3621300"/>
            <a:ext cx="2145682" cy="278148"/>
            <a:chOff x="10070474" y="5488351"/>
            <a:chExt cx="2145682" cy="278148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3A8A36-BB34-9D2D-EFAA-4EF9F0C819D1}"/>
              </a:ext>
            </a:extLst>
          </p:cNvPr>
          <p:cNvGrpSpPr/>
          <p:nvPr/>
        </p:nvGrpSpPr>
        <p:grpSpPr>
          <a:xfrm>
            <a:off x="813291" y="2115779"/>
            <a:ext cx="3280243" cy="1351155"/>
            <a:chOff x="3451773" y="5584971"/>
            <a:chExt cx="3280243" cy="1351155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D9B4B9E3-DA40-DFA4-4258-765A23674AD7}"/>
                </a:ext>
              </a:extLst>
            </p:cNvPr>
            <p:cNvSpPr/>
            <p:nvPr/>
          </p:nvSpPr>
          <p:spPr>
            <a:xfrm>
              <a:off x="3614523" y="6127081"/>
              <a:ext cx="3117493" cy="809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1AF195F-9D0E-6024-86A6-BCD365F28078}"/>
                </a:ext>
              </a:extLst>
            </p:cNvPr>
            <p:cNvCxnSpPr>
              <a:cxnSpLocks/>
              <a:endCxn id="15" idx="0"/>
            </p:cNvCxnSpPr>
            <p:nvPr/>
          </p:nvCxnSpPr>
          <p:spPr>
            <a:xfrm>
              <a:off x="4661741" y="5737622"/>
              <a:ext cx="511529" cy="3894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EE39870-9854-58F6-892C-D7A8FFDDB548}"/>
                </a:ext>
              </a:extLst>
            </p:cNvPr>
            <p:cNvSpPr/>
            <p:nvPr/>
          </p:nvSpPr>
          <p:spPr>
            <a:xfrm>
              <a:off x="3451773" y="5584971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6F42138C-441C-CBF9-4AF3-39EF0043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775" y="2843139"/>
            <a:ext cx="433813" cy="40127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DE338D8-9A98-5255-8F09-D8BF0D3B4B1F}"/>
              </a:ext>
            </a:extLst>
          </p:cNvPr>
          <p:cNvGrpSpPr/>
          <p:nvPr/>
        </p:nvGrpSpPr>
        <p:grpSpPr>
          <a:xfrm>
            <a:off x="7501270" y="3076087"/>
            <a:ext cx="2806996" cy="883664"/>
            <a:chOff x="2309173" y="7625344"/>
            <a:chExt cx="2806996" cy="883664"/>
          </a:xfrm>
        </p:grpSpPr>
        <p:sp>
          <p:nvSpPr>
            <p:cNvPr id="32" name="Google Shape;229;g370fc456c4b_0_4">
              <a:extLst>
                <a:ext uri="{FF2B5EF4-FFF2-40B4-BE49-F238E27FC236}">
                  <a16:creationId xmlns:a16="http://schemas.microsoft.com/office/drawing/2014/main" id="{A06307D2-8695-C9DC-370B-ECE9F76A1100}"/>
                </a:ext>
              </a:extLst>
            </p:cNvPr>
            <p:cNvSpPr/>
            <p:nvPr/>
          </p:nvSpPr>
          <p:spPr>
            <a:xfrm>
              <a:off x="4212401" y="8170558"/>
              <a:ext cx="903768" cy="3384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3" name="Google Shape;230;g370fc456c4b_0_4">
              <a:extLst>
                <a:ext uri="{FF2B5EF4-FFF2-40B4-BE49-F238E27FC236}">
                  <a16:creationId xmlns:a16="http://schemas.microsoft.com/office/drawing/2014/main" id="{02E56800-24BA-81DD-2E55-52971B11EE28}"/>
                </a:ext>
              </a:extLst>
            </p:cNvPr>
            <p:cNvCxnSpPr>
              <a:cxnSpLocks/>
            </p:cNvCxnSpPr>
            <p:nvPr/>
          </p:nvCxnSpPr>
          <p:spPr>
            <a:xfrm>
              <a:off x="3809495" y="777799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6E4D914-1CA4-2A8F-FD3C-23AEC8DFC1A3}"/>
                </a:ext>
              </a:extLst>
            </p:cNvPr>
            <p:cNvSpPr/>
            <p:nvPr/>
          </p:nvSpPr>
          <p:spPr>
            <a:xfrm>
              <a:off x="2309173" y="7625344"/>
              <a:ext cx="1500322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ickerCategor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237B-3169-A4B6-4145-BAC010C90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F105B2-4325-12AC-8F97-C825A165B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CARD AND STICKER RELATIONSHIP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1BEB5F-B01F-CF1E-BE29-39C137CAE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08" y="1098000"/>
            <a:ext cx="9643052" cy="437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34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93A7F4-A597-A845-3978-9CE1714C9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532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4AB60E-CB27-5ECD-366B-81EDE7008B75}"/>
              </a:ext>
            </a:extLst>
          </p:cNvPr>
          <p:cNvGrpSpPr/>
          <p:nvPr/>
        </p:nvGrpSpPr>
        <p:grpSpPr>
          <a:xfrm>
            <a:off x="7211870" y="1341544"/>
            <a:ext cx="4418947" cy="5520088"/>
            <a:chOff x="2006455" y="6127081"/>
            <a:chExt cx="4418947" cy="55200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0C3D764C-ED08-CCFC-3285-5E254BAA1557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B8545C1A-7D0D-3AB9-2C58-C7B109F5D924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2C32E31-2BFC-0D8A-9C70-CDC196FBA279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EADCF2-0D79-A325-C8F6-8764653D779F}"/>
              </a:ext>
            </a:extLst>
          </p:cNvPr>
          <p:cNvGrpSpPr/>
          <p:nvPr/>
        </p:nvGrpSpPr>
        <p:grpSpPr>
          <a:xfrm>
            <a:off x="7048200" y="3218856"/>
            <a:ext cx="4424330" cy="375758"/>
            <a:chOff x="9744289" y="5390741"/>
            <a:chExt cx="4424330" cy="375758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9088DA1B-A621-36BF-F103-7F14325A554A}"/>
                </a:ext>
              </a:extLst>
            </p:cNvPr>
            <p:cNvSpPr/>
            <p:nvPr/>
          </p:nvSpPr>
          <p:spPr>
            <a:xfrm flipV="1">
              <a:off x="13716597" y="5390741"/>
              <a:ext cx="452022" cy="1574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6F57A359-BF21-A473-6958-CE1D2F617637}"/>
                </a:ext>
              </a:extLst>
            </p:cNvPr>
            <p:cNvCxnSpPr>
              <a:cxnSpLocks/>
              <a:stCxn id="12" idx="3"/>
              <a:endCxn id="10" idx="1"/>
            </p:cNvCxnSpPr>
            <p:nvPr/>
          </p:nvCxnSpPr>
          <p:spPr>
            <a:xfrm flipV="1">
              <a:off x="11196616" y="5469447"/>
              <a:ext cx="2519981" cy="15797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45F1F19-8377-A1AF-32FA-C7AD470B1C08}"/>
                </a:ext>
              </a:extLst>
            </p:cNvPr>
            <p:cNvSpPr/>
            <p:nvPr/>
          </p:nvSpPr>
          <p:spPr>
            <a:xfrm>
              <a:off x="9744289" y="5488351"/>
              <a:ext cx="1452327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EDDB95D-5C31-BE5E-832C-6BB6AA613281}"/>
              </a:ext>
            </a:extLst>
          </p:cNvPr>
          <p:cNvSpPr/>
          <p:nvPr/>
        </p:nvSpPr>
        <p:spPr>
          <a:xfrm>
            <a:off x="5654578" y="3810963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432DD3-087A-2145-BF83-30C1ECF02442}"/>
              </a:ext>
            </a:extLst>
          </p:cNvPr>
          <p:cNvGrpSpPr/>
          <p:nvPr/>
        </p:nvGrpSpPr>
        <p:grpSpPr>
          <a:xfrm>
            <a:off x="7190331" y="1693628"/>
            <a:ext cx="4282199" cy="5033175"/>
            <a:chOff x="1868552" y="6326063"/>
            <a:chExt cx="4282199" cy="5033175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B84B6629-17AD-CDCE-3801-E7188F56009C}"/>
                </a:ext>
              </a:extLst>
            </p:cNvPr>
            <p:cNvSpPr/>
            <p:nvPr/>
          </p:nvSpPr>
          <p:spPr>
            <a:xfrm>
              <a:off x="3614524" y="6326063"/>
              <a:ext cx="2536227" cy="503317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9A33CFA3-FC32-2153-ED17-1EEAB15EBDBB}"/>
                </a:ext>
              </a:extLst>
            </p:cNvPr>
            <p:cNvCxnSpPr>
              <a:cxnSpLocks/>
            </p:cNvCxnSpPr>
            <p:nvPr/>
          </p:nvCxnSpPr>
          <p:spPr>
            <a:xfrm>
              <a:off x="3078520" y="7456276"/>
              <a:ext cx="536004" cy="3465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1A19DDC-B090-EBA2-B8F4-7F36D778D163}"/>
                </a:ext>
              </a:extLst>
            </p:cNvPr>
            <p:cNvSpPr/>
            <p:nvPr/>
          </p:nvSpPr>
          <p:spPr>
            <a:xfrm>
              <a:off x="1868552" y="7303729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10DDA70-8E36-A882-6835-E7AC0583A114}"/>
              </a:ext>
            </a:extLst>
          </p:cNvPr>
          <p:cNvSpPr/>
          <p:nvPr/>
        </p:nvSpPr>
        <p:spPr>
          <a:xfrm>
            <a:off x="5654579" y="337626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EDBCCB-247C-2C6A-9D8D-62549A533442}"/>
              </a:ext>
            </a:extLst>
          </p:cNvPr>
          <p:cNvSpPr/>
          <p:nvPr/>
        </p:nvSpPr>
        <p:spPr>
          <a:xfrm>
            <a:off x="6980907" y="469261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051DFB5-F295-9F72-8E2B-6049634D4445}"/>
              </a:ext>
            </a:extLst>
          </p:cNvPr>
          <p:cNvSpPr/>
          <p:nvPr/>
        </p:nvSpPr>
        <p:spPr>
          <a:xfrm>
            <a:off x="5654577" y="4245658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74EE5C-A34E-7161-6FA0-D12124CA9E89}"/>
              </a:ext>
            </a:extLst>
          </p:cNvPr>
          <p:cNvSpPr/>
          <p:nvPr/>
        </p:nvSpPr>
        <p:spPr>
          <a:xfrm>
            <a:off x="5654576" y="4663399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6CD10AE-E13F-E65D-BEDA-D43E0E8B65EE}"/>
              </a:ext>
            </a:extLst>
          </p:cNvPr>
          <p:cNvSpPr/>
          <p:nvPr/>
        </p:nvSpPr>
        <p:spPr>
          <a:xfrm>
            <a:off x="5654576" y="5098094"/>
            <a:ext cx="1209967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rd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71B685C-4242-2CB7-613B-1EA92D2DCF24}"/>
              </a:ext>
            </a:extLst>
          </p:cNvPr>
          <p:cNvGrpSpPr/>
          <p:nvPr/>
        </p:nvGrpSpPr>
        <p:grpSpPr>
          <a:xfrm>
            <a:off x="9904775" y="1403982"/>
            <a:ext cx="2145682" cy="278148"/>
            <a:chOff x="10070474" y="5488351"/>
            <a:chExt cx="2145682" cy="278148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8305FA29-736A-CE54-ED0A-EF1B8283B886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437C4CB-A322-5B83-DCCF-EA1394DC3FB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11196616" y="5627425"/>
              <a:ext cx="322967" cy="440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EE83A6D-242B-45DE-05B0-2B28F7F11CAF}"/>
                </a:ext>
              </a:extLst>
            </p:cNvPr>
            <p:cNvSpPr/>
            <p:nvPr/>
          </p:nvSpPr>
          <p:spPr>
            <a:xfrm>
              <a:off x="10070474" y="548835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Read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2B77BD-6A0C-D646-CBA5-319A3BE03B1D}"/>
              </a:ext>
            </a:extLst>
          </p:cNvPr>
          <p:cNvGrpSpPr/>
          <p:nvPr/>
        </p:nvGrpSpPr>
        <p:grpSpPr>
          <a:xfrm>
            <a:off x="7379265" y="3186245"/>
            <a:ext cx="4093265" cy="897773"/>
            <a:chOff x="9690646" y="5576476"/>
            <a:chExt cx="4093265" cy="8977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23A2E3FA-0CF7-2ECE-F335-077E4491506F}"/>
                </a:ext>
              </a:extLst>
            </p:cNvPr>
            <p:cNvSpPr/>
            <p:nvPr/>
          </p:nvSpPr>
          <p:spPr>
            <a:xfrm>
              <a:off x="11519583" y="5576476"/>
              <a:ext cx="2264328" cy="33707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54B929E-0DF6-004E-0C7F-C78CC4A63E74}"/>
                </a:ext>
              </a:extLst>
            </p:cNvPr>
            <p:cNvCxnSpPr>
              <a:cxnSpLocks/>
              <a:stCxn id="45" idx="3"/>
              <a:endCxn id="43" idx="1"/>
            </p:cNvCxnSpPr>
            <p:nvPr/>
          </p:nvCxnSpPr>
          <p:spPr>
            <a:xfrm flipV="1">
              <a:off x="10816788" y="5745012"/>
              <a:ext cx="702795" cy="59016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2816267-9579-404F-F538-3FB58A433C6D}"/>
                </a:ext>
              </a:extLst>
            </p:cNvPr>
            <p:cNvSpPr/>
            <p:nvPr/>
          </p:nvSpPr>
          <p:spPr>
            <a:xfrm>
              <a:off x="9690646" y="619610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7063DF-E002-9C4E-72DF-E624D34054E7}"/>
              </a:ext>
            </a:extLst>
          </p:cNvPr>
          <p:cNvGrpSpPr/>
          <p:nvPr/>
        </p:nvGrpSpPr>
        <p:grpSpPr>
          <a:xfrm>
            <a:off x="9456531" y="3390279"/>
            <a:ext cx="1126142" cy="994453"/>
            <a:chOff x="11196616" y="5576476"/>
            <a:chExt cx="1126142" cy="994453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E9AC2567-08A3-C591-4D30-60D5746065A3}"/>
                </a:ext>
              </a:extLst>
            </p:cNvPr>
            <p:cNvSpPr/>
            <p:nvPr/>
          </p:nvSpPr>
          <p:spPr>
            <a:xfrm>
              <a:off x="11519583" y="5576476"/>
              <a:ext cx="803175" cy="14396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3F0B3A0D-1392-3A47-8BA5-F188AECF22E7}"/>
                </a:ext>
              </a:extLst>
            </p:cNvPr>
            <p:cNvCxnSpPr>
              <a:cxnSpLocks/>
              <a:stCxn id="53" idx="0"/>
              <a:endCxn id="51" idx="2"/>
            </p:cNvCxnSpPr>
            <p:nvPr/>
          </p:nvCxnSpPr>
          <p:spPr>
            <a:xfrm flipV="1">
              <a:off x="11759687" y="5720443"/>
              <a:ext cx="161484" cy="57233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7EEE797-5028-FC5B-0911-EFEFE8800ACA}"/>
                </a:ext>
              </a:extLst>
            </p:cNvPr>
            <p:cNvSpPr/>
            <p:nvPr/>
          </p:nvSpPr>
          <p:spPr>
            <a:xfrm>
              <a:off x="11196616" y="6292781"/>
              <a:ext cx="1126142" cy="278148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NOTIFICATION, ACTIVITY RELATIONSHIP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595C-9180-A051-CC65-D5559AC09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8" y="1162008"/>
            <a:ext cx="10211618" cy="4189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C00000"/>
                </a:solidFill>
              </a:rPr>
              <a:t>Key Functionalities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161" y="1271551"/>
            <a:ext cx="7004039" cy="4314897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23B3847-D2DC-32A6-5F97-217BB02A55AC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518160" y="1271551"/>
            <a:ext cx="4547616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and manage Workspaces for different project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Boards to organize task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Cards with due dates, custom field, label, checklists, and attachment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</a:t>
            </a:r>
            <a:r>
              <a:rPr lang="en-US" altLang="en-US" b="0" dirty="0">
                <a:latin typeface="Arial" panose="020B0604020202020204" pitchFamily="34" charset="0"/>
              </a:rPr>
              <a:t>ssign Member to Workspace, Board, Car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ent and Activity on Card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plat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setup projec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laborate and manage Members &amp; Permission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45</TotalTime>
  <Words>5449</Words>
  <Application>Microsoft Office PowerPoint</Application>
  <PresentationFormat>Widescreen</PresentationFormat>
  <Paragraphs>858</Paragraphs>
  <Slides>49</Slides>
  <Notes>34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Key Functionalities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WORKSPACE, BOARD, USER RELATIONSHIP</vt:lpstr>
      <vt:lpstr>BOARD SCREEN</vt:lpstr>
      <vt:lpstr>WORKSPACE, BOARD, STAGE, CARD RELATIONSHIP</vt:lpstr>
      <vt:lpstr>CARD SCREEN</vt:lpstr>
      <vt:lpstr>CARD, LABEL, COMMENT, COLOR RELATIONSHIP</vt:lpstr>
      <vt:lpstr>CARD SCREEN</vt:lpstr>
      <vt:lpstr>CARD SCREEN</vt:lpstr>
      <vt:lpstr>CARD, CUSTOMFIELD, CHECKLIST RELATIONSHIP</vt:lpstr>
      <vt:lpstr>BOARD SCREEN</vt:lpstr>
      <vt:lpstr>WORKSPACE MEMBER SCREEN</vt:lpstr>
      <vt:lpstr>BOARD MEMBER SCREEN</vt:lpstr>
      <vt:lpstr>MEMBER, ROLEPERMISSION, SHARELINK RELATIONSHIP</vt:lpstr>
      <vt:lpstr>CARD MEMBER SCREEN</vt:lpstr>
      <vt:lpstr>WORKSPACE, BOARD, CARD, MEMBER RELATIONSHIP</vt:lpstr>
      <vt:lpstr>SETTINGS SCREEN</vt:lpstr>
      <vt:lpstr>WORKSPACE, BOARD, CARD, SETTING RELATIONSHIP</vt:lpstr>
      <vt:lpstr>TEMPLATE SCREEN</vt:lpstr>
      <vt:lpstr>TEMPLATE SCREEN</vt:lpstr>
      <vt:lpstr>BOARD, TEMPLATE, USER RELATIONSHIP</vt:lpstr>
      <vt:lpstr>BOARD COLLECTION SCREEN</vt:lpstr>
      <vt:lpstr>BOARD, COLLECTION RELATIONSHIP</vt:lpstr>
      <vt:lpstr>CARD STICKER SCREEN</vt:lpstr>
      <vt:lpstr>CARD AND STICKER RELATIONSHIP</vt:lpstr>
      <vt:lpstr>NOTIFICATION SCREEN</vt:lpstr>
      <vt:lpstr>NOTIFICATION, ACTIVITY RELATIONSHIP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02</cp:revision>
  <dcterms:created xsi:type="dcterms:W3CDTF">2025-07-10T03:51:23Z</dcterms:created>
  <dcterms:modified xsi:type="dcterms:W3CDTF">2025-08-14T19:17:10Z</dcterms:modified>
</cp:coreProperties>
</file>